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14998699" r:id="rId2"/>
    <p:sldId id="257" r:id="rId3"/>
  </p:sldIdLst>
  <p:sldSz cx="12192000" cy="6858000"/>
  <p:notesSz cx="6858000" cy="9144000"/>
  <p:custDataLst>
    <p:tags r:id="rId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9" d="100"/>
          <a:sy n="79" d="100"/>
        </p:scale>
        <p:origin x="442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98D4060-BC75-30CA-208D-876286C76F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B48E227-2883-E949-D2FB-AA98563173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49F8715-B201-6113-3AE9-3544F86B7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2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0C9B3CC-C8E4-932E-5AB7-0D0866BD3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5C9FEB6-6E71-6055-71F2-8BBB2F9FB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2290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6AE6BE3-6E4F-37B9-7B00-C580BDE37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2207F85-CA62-777D-3B0A-0176691A94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CD0957A-DF22-7773-7D26-B8C01CA31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2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4ADC174-D4FF-2138-AFCF-3B8229A6F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A613F5A-0135-81DD-00E2-5E435DBE6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1158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058CB87-8CE4-D60E-CB7B-2E48F324AAC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114797F-F8F3-D2D9-8899-B0ACFDF579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B9876B4-13BE-EB83-DE02-B856CFF1E1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2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E6BEE57-1ABD-36EC-8224-C1C1F0FAD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D2548B8-4B27-804B-1C46-8DDC464E0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437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2881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C9B3C1A-EC51-E359-3C4F-44EA1EBFE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DF4EE5D-6523-EDD1-B70C-7A9A33706D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690E2E5-6946-6E47-7BA1-7DE5657D64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2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DBC75B9-1A39-715B-CDDF-4DE348B747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3B2A842-CC49-7B4D-33A1-1D27E653A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294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58B5EF6-68E0-EA01-E159-F80FF00D7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B920E3A-AC78-C6FF-C75F-2A7DC2EE57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F456EC9-1A0D-4DA7-0D63-516628D23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2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C880974-BE0C-3129-518F-1C8412BF5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7A1CD86-545E-5789-8398-2670F7019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5592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6DE5967-8DF5-890F-4B5B-7B8854032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B4CFA99-3A23-473B-F243-2DC1D072B1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D5FA356-51EC-D5A6-3C2B-28D14E3707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4CAAA29-87F1-2264-1781-9E8B62A29F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29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07215C4-7472-A28D-D97A-2A8831122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91C62A9-BC11-49B4-2280-396BD5A073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26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7D05104-67D2-F9E0-0786-06D4157DB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8B9FE4F-19D4-E0E1-A538-B55FDD9B61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463F6DD-D9EA-CBDE-B40A-B4AAC57836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09FB87E3-4D6E-06BF-03B6-23784E731F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8AC1F0C8-4374-9A76-3FFF-352869AD420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2AA80D9E-6DB1-71F9-80FF-6618D634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29/2024</a:t>
            </a:fld>
            <a:endParaRPr 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DFDF3DC2-FCDB-B180-0312-28CA514CE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9E9F1702-B20F-318E-81BF-0CF3A2EDC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6115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C637183-D835-3C1F-846B-95C383B69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B3A84B9-5E54-517D-9A9B-BC4FAB19FB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29/2024</a:t>
            </a:fld>
            <a:endParaRPr 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77C10F8-1BF0-6A47-CDE1-699C121E1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C1F7630-E47A-7343-074C-04D56BCA0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0306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80E66181-BFCC-6F1A-8B46-94C4A17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29/2024</a:t>
            </a:fld>
            <a:endParaRPr 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A51886-B814-B3C0-179A-A28AEF386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D5CFDA9-2A25-9953-A54D-8ABE3D8FB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243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0D4D008-CAFD-E4BD-05BC-7E7087D820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F3B6E20-6713-EE39-9D1C-2B426F3FD7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2F0A81C-38A6-8139-C15E-CB229588AE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A727708-D712-201B-7DD9-78CD2C79C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29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B233939-5EFD-C8F3-5D41-9FAE54DB6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233FEAE-67B6-3D50-0000-13545B508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895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9B9562-6470-D60F-FB90-7060A5E8A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D4D4F342-0EC1-5038-3CB1-A882412B67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CD7AC45-6DB2-7CB4-DC7A-8F8EEC1F07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694C8DF-8C51-D096-F80A-B0342AAA8E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29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5F77C03-5B77-2A1B-9C81-5EDF63E5B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86415E9-1F15-B7E3-7A04-C7EA8C206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515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DE2F1B7-EF5F-CFFF-0742-A16FF47663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51162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5" imgW="473" imgH="476" progId="TCLayout.ActiveDocument.1">
                  <p:embed/>
                </p:oleObj>
              </mc:Choice>
              <mc:Fallback>
                <p:oleObj name="think-cell 幻灯片" r:id="rId1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F11CCE7F-69A2-8822-9152-1D468F6C9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60C9E29-34CE-030C-991C-2CF26A808D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81C5E06-185F-27A0-BE61-29D1465E77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EE26DA-41BE-41F2-8526-478C51E3B2EA}" type="datetimeFigureOut">
              <a:rPr lang="en-US" smtClean="0"/>
              <a:t>8/2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E655C2D-9135-0928-BD59-AF87FC0297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F07BB93-A763-A521-EDAE-59ECD87CE6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457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小李PPT11"/>
          <p:cNvSpPr/>
          <p:nvPr/>
        </p:nvSpPr>
        <p:spPr>
          <a:xfrm>
            <a:off x="7392347" y="0"/>
            <a:ext cx="4689991" cy="6858000"/>
          </a:xfrm>
          <a:prstGeom prst="parallelogram">
            <a:avLst>
              <a:gd name="adj" fmla="val 34956"/>
            </a:avLst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小李PPT12"/>
          <p:cNvSpPr/>
          <p:nvPr/>
        </p:nvSpPr>
        <p:spPr>
          <a:xfrm>
            <a:off x="7660480" y="0"/>
            <a:ext cx="4689991" cy="6858000"/>
          </a:xfrm>
          <a:prstGeom prst="parallelogram">
            <a:avLst>
              <a:gd name="adj" fmla="val 34956"/>
            </a:avLst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思源黑体 CN Normal"/>
              <a:cs typeface="+mn-cs"/>
            </a:endParaRPr>
          </a:p>
        </p:txBody>
      </p:sp>
      <p:sp>
        <p:nvSpPr>
          <p:cNvPr id="5" name="小李PPT13"/>
          <p:cNvSpPr txBox="1"/>
          <p:nvPr/>
        </p:nvSpPr>
        <p:spPr>
          <a:xfrm>
            <a:off x="959463" y="1783292"/>
            <a:ext cx="555336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altLang="en-US" sz="6000" dirty="0">
                <a:solidFill>
                  <a:schemeClr val="accent1"/>
                </a:solidFill>
                <a:latin typeface="+mj-ea"/>
                <a:ea typeface="+mj-ea"/>
                <a:cs typeface="OPPOSans H" panose="00020600040101010101" pitchFamily="18" charset="-122"/>
              </a:rPr>
              <a:t>工作汇报</a:t>
            </a:r>
            <a:endParaRPr lang="en-US" altLang="zh-CN" sz="6000" dirty="0">
              <a:solidFill>
                <a:schemeClr val="accent1"/>
              </a:solidFill>
              <a:latin typeface="+mj-ea"/>
              <a:ea typeface="+mj-ea"/>
              <a:cs typeface="OPPOSans H" panose="00020600040101010101" pitchFamily="18" charset="-122"/>
            </a:endParaRPr>
          </a:p>
          <a:p>
            <a:pPr>
              <a:defRPr/>
            </a:pPr>
            <a:r>
              <a:rPr lang="zh-CN" altLang="en-US" sz="6000" dirty="0">
                <a:solidFill>
                  <a:prstClr val="black"/>
                </a:solidFill>
                <a:latin typeface="+mj-ea"/>
                <a:ea typeface="+mj-ea"/>
                <a:cs typeface="OPPOSans H" panose="00020600040101010101" pitchFamily="18" charset="-122"/>
              </a:rPr>
              <a:t>通用总结模板</a:t>
            </a:r>
          </a:p>
        </p:txBody>
      </p:sp>
      <p:sp>
        <p:nvSpPr>
          <p:cNvPr id="6" name="小李PPT14"/>
          <p:cNvSpPr txBox="1"/>
          <p:nvPr/>
        </p:nvSpPr>
        <p:spPr>
          <a:xfrm>
            <a:off x="997563" y="3612300"/>
            <a:ext cx="526847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sz="2000" dirty="0">
                <a:solidFill>
                  <a:prstClr val="white">
                    <a:lumMod val="75000"/>
                  </a:prstClr>
                </a:solidFill>
                <a:latin typeface="+mn-ea"/>
              </a:rPr>
              <a:t>Review of annual work in outpatient </a:t>
            </a:r>
            <a:r>
              <a:rPr lang="en-US" altLang="zh-CN" sz="2000" dirty="0" err="1">
                <a:solidFill>
                  <a:prstClr val="white">
                    <a:lumMod val="75000"/>
                  </a:prstClr>
                </a:solidFill>
                <a:latin typeface="+mn-ea"/>
              </a:rPr>
              <a:t>departmentof</a:t>
            </a:r>
            <a:r>
              <a:rPr lang="en-US" altLang="zh-CN" sz="2000" dirty="0">
                <a:solidFill>
                  <a:prstClr val="white">
                    <a:lumMod val="75000"/>
                  </a:prstClr>
                </a:solidFill>
                <a:latin typeface="+mn-ea"/>
              </a:rPr>
              <a:t> municipal hospital</a:t>
            </a:r>
          </a:p>
        </p:txBody>
      </p:sp>
      <p:sp>
        <p:nvSpPr>
          <p:cNvPr id="7" name="小李PPT15"/>
          <p:cNvSpPr txBox="1"/>
          <p:nvPr/>
        </p:nvSpPr>
        <p:spPr>
          <a:xfrm>
            <a:off x="964070" y="5449813"/>
            <a:ext cx="1633781" cy="4001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2000" dirty="0">
                <a:solidFill>
                  <a:srgbClr val="000000"/>
                </a:solidFill>
                <a:latin typeface="+mn-ea"/>
              </a:rPr>
              <a:t>汇报人：</a:t>
            </a:r>
            <a:r>
              <a:rPr lang="en-US" altLang="zh-CN" sz="2000" dirty="0">
                <a:solidFill>
                  <a:srgbClr val="000000"/>
                </a:solidFill>
                <a:latin typeface="+mn-ea"/>
              </a:rPr>
              <a:t>xxx</a:t>
            </a:r>
          </a:p>
        </p:txBody>
      </p:sp>
      <p:pic>
        <p:nvPicPr>
          <p:cNvPr id="14" name="小李PPT16" descr="电脑的屏幕&#10;&#10;描述已自动生成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5695043" y="1581877"/>
            <a:ext cx="6830814" cy="3977565"/>
          </a:xfrm>
          <a:prstGeom prst="rect">
            <a:avLst/>
          </a:prstGeom>
        </p:spPr>
      </p:pic>
      <p:pic>
        <p:nvPicPr>
          <p:cNvPr id="15" name="小李PPT17"/>
          <p:cNvPicPr>
            <a:picLocks noChangeAspect="1"/>
          </p:cNvPicPr>
          <p:nvPr/>
        </p:nvPicPr>
        <p:blipFill>
          <a:blip r:embed="rId3" cstate="email"/>
          <a:srcRect/>
          <a:stretch>
            <a:fillRect/>
          </a:stretch>
        </p:blipFill>
        <p:spPr>
          <a:xfrm>
            <a:off x="6441421" y="1791427"/>
            <a:ext cx="5317960" cy="3307249"/>
          </a:xfrm>
          <a:prstGeom prst="rect">
            <a:avLst/>
          </a:prstGeom>
        </p:spPr>
      </p:pic>
      <p:sp>
        <p:nvSpPr>
          <p:cNvPr id="18" name="小李PPT18"/>
          <p:cNvSpPr/>
          <p:nvPr/>
        </p:nvSpPr>
        <p:spPr>
          <a:xfrm>
            <a:off x="1055688" y="1212545"/>
            <a:ext cx="965008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altLang="zh-CN" sz="2400" dirty="0">
                <a:solidFill>
                  <a:schemeClr val="accent2"/>
                </a:solidFill>
                <a:latin typeface="+mj-ea"/>
                <a:ea typeface="+mj-ea"/>
                <a:cs typeface="阿里巴巴普惠体 Heavy" panose="00020600040101010101" pitchFamily="18" charset="-122"/>
              </a:rPr>
              <a:t>LOGO</a:t>
            </a:r>
            <a:endParaRPr lang="zh-CN" altLang="en-US" sz="2400" dirty="0">
              <a:solidFill>
                <a:schemeClr val="accent2"/>
              </a:solidFill>
              <a:latin typeface="+mj-ea"/>
              <a:ea typeface="+mj-ea"/>
              <a:cs typeface="阿里巴巴普惠体 Heavy" panose="00020600040101010101" pitchFamily="18" charset="-122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8732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19</Words>
  <Application>Microsoft Office PowerPoint</Application>
  <PresentationFormat>宽屏</PresentationFormat>
  <Paragraphs>5</Paragraphs>
  <Slides>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8" baseType="lpstr">
      <vt:lpstr>等线</vt:lpstr>
      <vt:lpstr>等线 Light</vt:lpstr>
      <vt:lpstr>Arial</vt:lpstr>
      <vt:lpstr>Montserrat</vt:lpstr>
      <vt:lpstr>Office 主题​​</vt:lpstr>
      <vt:lpstr>think-cell 幻灯片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zhong zhang</dc:creator>
  <cp:lastModifiedBy>lizhong zhang</cp:lastModifiedBy>
  <cp:revision>3</cp:revision>
  <cp:lastPrinted>1999-12-31T16:00:00Z</cp:lastPrinted>
  <dcterms:created xsi:type="dcterms:W3CDTF">2024-08-29T02:15:38Z</dcterms:created>
  <dcterms:modified xsi:type="dcterms:W3CDTF">2024-08-29T02:16:55Z</dcterms:modified>
</cp:coreProperties>
</file>